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6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34958308874411"/>
          <c:y val="0.12567163355148306"/>
          <c:w val="0.77917345315760345"/>
          <c:h val="0.730887659267168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CB-4530-8A80-D77B0F5AAC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CB-4530-8A80-D77B0F5AAC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CB-4530-8A80-D77B0F5AAC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A35164-A78F-6CFA-740C-416A2B24E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8385034-E6CD-C886-53B7-79B152AC0F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385034-E6CD-C886-53B7-79B152AC0F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54CD4A09-DE76-FFFB-1254-7EB621CED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ustered Bar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484AB57-82E7-E8DA-6DFF-CF89A2AF82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DEFEDB1B-6A65-DEA8-41BD-12502C61C5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B95B1EF-36D6-5E38-2164-79580C14A97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7FDC8D4C-E45D-38D0-B2D7-DC6D4D8EF12C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F41AC5E4-3995-920A-857E-224351BA6D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DA1EDDFA-9F45-9CD7-2AF7-2A5CE4814A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67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1</TotalTime>
  <Words>86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lustered Bar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96</cp:revision>
  <dcterms:created xsi:type="dcterms:W3CDTF">2025-07-09T10:57:17Z</dcterms:created>
  <dcterms:modified xsi:type="dcterms:W3CDTF">2025-10-22T09:56:09Z</dcterms:modified>
  <cp:category/>
</cp:coreProperties>
</file>